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8"/>
  </p:notesMasterIdLst>
  <p:handoutMasterIdLst>
    <p:handoutMasterId r:id="rId9"/>
  </p:handoutMasterIdLst>
  <p:sldIdLst>
    <p:sldId id="256" r:id="rId3"/>
    <p:sldId id="294" r:id="rId4"/>
    <p:sldId id="296" r:id="rId5"/>
    <p:sldId id="295" r:id="rId6"/>
    <p:sldId id="297" r:id="rId7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294"/>
            <p14:sldId id="296"/>
            <p14:sldId id="295"/>
            <p14:sldId id="297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5" autoAdjust="0"/>
    <p:restoredTop sz="75507" autoAdjust="0"/>
  </p:normalViewPr>
  <p:slideViewPr>
    <p:cSldViewPr>
      <p:cViewPr varScale="1">
        <p:scale>
          <a:sx n="77" d="100"/>
          <a:sy n="77" d="100"/>
        </p:scale>
        <p:origin x="1416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1884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customXml" Target="../customXml/item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10/10/202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10/10/2022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/>
              <a:t>Modifiez le style du titr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/>
              <a:t>Modifiez les styles du texte du masque</a:t>
            </a:r>
          </a:p>
          <a:p>
            <a:pPr lvl="1" eaLnBrk="1" latinLnBrk="0" hangingPunct="1"/>
            <a:r>
              <a:rPr kumimoji="0" lang="fr-FR"/>
              <a:t>Deuxième niveau</a:t>
            </a:r>
          </a:p>
          <a:p>
            <a:pPr lvl="2" eaLnBrk="1" latinLnBrk="0" hangingPunct="1"/>
            <a:r>
              <a:rPr kumimoji="0" lang="fr-FR"/>
              <a:t>Troisième niveau</a:t>
            </a:r>
          </a:p>
          <a:p>
            <a:pPr lvl="3" eaLnBrk="1" latinLnBrk="0" hangingPunct="1"/>
            <a:r>
              <a:rPr kumimoji="0" lang="fr-FR"/>
              <a:t>Quatrième niveau</a:t>
            </a:r>
          </a:p>
          <a:p>
            <a:pPr lvl="4" eaLnBrk="1" latinLnBrk="0" hangingPunct="1"/>
            <a:r>
              <a:rPr kumimoji="0" lang="fr-FR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10/10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Développement .NET C#</a:t>
            </a:r>
            <a:br>
              <a:rPr lang="fr-FR" dirty="0"/>
            </a:br>
            <a:r>
              <a:rPr lang="fr-FR" sz="3200" dirty="0"/>
              <a:t>Objets et Types</a:t>
            </a:r>
            <a:br>
              <a:rPr lang="fr-FR" sz="3200" dirty="0"/>
            </a:br>
            <a:r>
              <a:rPr lang="fr-FR" sz="3200" dirty="0"/>
              <a:t>Annexe 1 : solutions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Maxence LAURENT</a:t>
            </a:r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ous-titre 2"/>
          <p:cNvSpPr txBox="1">
            <a:spLocks/>
          </p:cNvSpPr>
          <p:nvPr/>
        </p:nvSpPr>
        <p:spPr>
          <a:xfrm>
            <a:off x="3970467" y="4352925"/>
            <a:ext cx="4772528" cy="99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b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fr-FR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2022-2023</a:t>
            </a:r>
          </a:p>
        </p:txBody>
      </p:sp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Exercice 1 : héritage d’interfac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Reprendre l’interface ci-contre.</a:t>
            </a:r>
          </a:p>
          <a:p>
            <a:r>
              <a:rPr lang="fr-FR" dirty="0"/>
              <a:t>Créer une classe d’implémentation pour un compte courant, avec autorisation de découvert sans limite.</a:t>
            </a:r>
          </a:p>
          <a:p>
            <a:r>
              <a:rPr lang="fr-FR" dirty="0"/>
              <a:t>Créer une autre classe d’implémentation pour un compte épargne, sans découvert possible.</a:t>
            </a:r>
          </a:p>
          <a:p>
            <a:r>
              <a:rPr lang="fr-FR" dirty="0"/>
              <a:t>Créer une application console :</a:t>
            </a:r>
          </a:p>
          <a:p>
            <a:pPr lvl="1"/>
            <a:r>
              <a:rPr lang="fr-FR" sz="2300" dirty="0"/>
              <a:t>Créer un compte courant et un compte épargne.</a:t>
            </a:r>
          </a:p>
          <a:p>
            <a:pPr lvl="1"/>
            <a:r>
              <a:rPr lang="fr-FR" sz="2300" dirty="0"/>
              <a:t>Déposer 500 sur chaque compte.</a:t>
            </a:r>
          </a:p>
          <a:p>
            <a:pPr lvl="1"/>
            <a:r>
              <a:rPr lang="fr-FR" sz="2300" dirty="0"/>
              <a:t>Afficher les balances des comptes.</a:t>
            </a:r>
          </a:p>
          <a:p>
            <a:pPr lvl="1"/>
            <a:r>
              <a:rPr lang="fr-FR" sz="2300" dirty="0"/>
              <a:t>Retirer 600 sur chaque compte.</a:t>
            </a:r>
          </a:p>
          <a:p>
            <a:pPr lvl="1"/>
            <a:r>
              <a:rPr lang="fr-FR" sz="2300" dirty="0"/>
              <a:t>Afficher les balances des comptes.</a:t>
            </a:r>
          </a:p>
        </p:txBody>
      </p:sp>
      <p:sp>
        <p:nvSpPr>
          <p:cNvPr id="32770" name="Rectangle 2"/>
          <p:cNvSpPr>
            <a:spLocks noGrp="1" noChangeArrowheads="1"/>
          </p:cNvSpPr>
          <p:nvPr>
            <p:ph sz="half" idx="2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ankAccounts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nterfac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yIn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ool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Withdraw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mount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3568" y="6165304"/>
            <a:ext cx="8280920" cy="58477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fr-FR" sz="1600" i="1" dirty="0"/>
              <a:t>Pour aller plus loin : utiliser </a:t>
            </a:r>
            <a:r>
              <a:rPr lang="fr-FR" sz="1600" i="1" dirty="0" err="1"/>
              <a:t>System.Threading</a:t>
            </a:r>
            <a:r>
              <a:rPr lang="fr-FR" sz="1600" i="1" dirty="0"/>
              <a:t> et </a:t>
            </a:r>
            <a:r>
              <a:rPr lang="fr-FR" sz="1600" i="1" dirty="0" err="1"/>
              <a:t>System.Globalization</a:t>
            </a:r>
            <a:r>
              <a:rPr lang="fr-FR" sz="1600" i="1" dirty="0"/>
              <a:t> pour changer la culture courante en « en-GB » et afficher les balances au format monétaire britannique.</a:t>
            </a:r>
          </a:p>
        </p:txBody>
      </p:sp>
    </p:spTree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Solution (1/3) : </a:t>
            </a:r>
            <a:r>
              <a:rPr lang="fr-FR" dirty="0" err="1"/>
              <a:t>TransactionalAccount</a:t>
            </a:r>
            <a:endParaRPr lang="fr-FR" dirty="0"/>
          </a:p>
        </p:txBody>
      </p:sp>
      <p:sp>
        <p:nvSpPr>
          <p:cNvPr id="34817" name="Rectangle 1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ankAccounts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ransactionalAccount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yIn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balance += amount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ool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Withdraw(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balance -= amount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rue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verride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oString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Format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ransactional account: Balance = {0,6:C}"</a:t>
            </a: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balance);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Solution (2/3) : classe </a:t>
            </a:r>
            <a:r>
              <a:rPr lang="fr-FR" dirty="0" err="1"/>
              <a:t>SavingsAccount</a:t>
            </a:r>
            <a:endParaRPr lang="fr-FR" dirty="0"/>
          </a:p>
        </p:txBody>
      </p:sp>
      <p:sp>
        <p:nvSpPr>
          <p:cNvPr id="3379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0" y="1596413"/>
            <a:ext cx="8058472" cy="50783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ankAccounts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avingsAccount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: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ivate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get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balance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yIn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balance += amount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ool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Withdraw(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decimal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amount)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f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(balance &gt;= amount)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balance -= amount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rue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else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Error.WriteLine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Impossible to withdraw more than the balance."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false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ublic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override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oString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return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9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Format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Savings account: Balance = {0,6:C}"</a:t>
            </a: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balance);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fr-FR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lution 3/3 : Program</a:t>
            </a:r>
          </a:p>
        </p:txBody>
      </p:sp>
      <p:sp>
        <p:nvSpPr>
          <p:cNvPr id="35841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762001" y="1596413"/>
            <a:ext cx="8058472" cy="41242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using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ystem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amespace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BankAccounts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lass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rogram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{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Main(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[]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args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{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ystem.Threading.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hread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CurrentThread.CurrentCulture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=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5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ystem.Globalization.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ltureInfo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en-GB"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current =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TransactionalAccount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IBankAccount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savings = 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new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avingsAccount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PayIn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500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avings.PayIn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500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current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savings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urrent.Withdraw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600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avings.Withdraw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600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current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kumimoji="0" lang="fr-FR" sz="105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fr-FR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fr-FR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</a:t>
            </a:r>
            <a:r>
              <a:rPr kumimoji="0" lang="fr-FR" sz="105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avings</a:t>
            </a:r>
            <a:r>
              <a:rPr kumimoji="0" lang="fr-FR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);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}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}</a:t>
            </a:r>
            <a:endParaRPr kumimoji="0" lang="fr-FR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71F3F809FA25448D8330EB0B1CBD31" ma:contentTypeVersion="10" ma:contentTypeDescription="Crée un document." ma:contentTypeScope="" ma:versionID="d1c5c4c629170cf65144a545e65bdefb">
  <xsd:schema xmlns:xsd="http://www.w3.org/2001/XMLSchema" xmlns:xs="http://www.w3.org/2001/XMLSchema" xmlns:p="http://schemas.microsoft.com/office/2006/metadata/properties" xmlns:ns2="64e2001c-ab6a-42f3-8b7a-057d52d76ac8" xmlns:ns3="b3547129-2fac-47ed-ad0b-16fa8e00f7f3" targetNamespace="http://schemas.microsoft.com/office/2006/metadata/properties" ma:root="true" ma:fieldsID="88fe8b58f0f5b79855d16ae9bbe21c9e" ns2:_="" ns3:_="">
    <xsd:import namespace="64e2001c-ab6a-42f3-8b7a-057d52d76ac8"/>
    <xsd:import namespace="b3547129-2fac-47ed-ad0b-16fa8e00f7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2001c-ab6a-42f3-8b7a-057d52d76a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bb449ef9-7750-462c-9432-588b267b5a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547129-2fac-47ed-ad0b-16fa8e00f7f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daa12fe-3651-427c-8587-5f3da5d41c81}" ma:internalName="TaxCatchAll" ma:showField="CatchAllData" ma:web="b3547129-2fac-47ed-ad0b-16fa8e00f7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4e2001c-ab6a-42f3-8b7a-057d52d76ac8">
      <Terms xmlns="http://schemas.microsoft.com/office/infopath/2007/PartnerControls"/>
    </lcf76f155ced4ddcb4097134ff3c332f>
    <TaxCatchAll xmlns="b3547129-2fac-47ed-ad0b-16fa8e00f7f3" xsi:nil="true"/>
  </documentManagement>
</p:properties>
</file>

<file path=customXml/itemProps1.xml><?xml version="1.0" encoding="utf-8"?>
<ds:datastoreItem xmlns:ds="http://schemas.openxmlformats.org/officeDocument/2006/customXml" ds:itemID="{D4382BC6-F208-46D3-BDCE-42ADE74B1B5A}"/>
</file>

<file path=customXml/itemProps2.xml><?xml version="1.0" encoding="utf-8"?>
<ds:datastoreItem xmlns:ds="http://schemas.openxmlformats.org/officeDocument/2006/customXml" ds:itemID="{FFFAC025-297E-47B4-9D9B-3224BC1411C6}"/>
</file>

<file path=customXml/itemProps3.xml><?xml version="1.0" encoding="utf-8"?>
<ds:datastoreItem xmlns:ds="http://schemas.openxmlformats.org/officeDocument/2006/customXml" ds:itemID="{1038ED4D-17D4-48CD-BF6E-549E7E9362BC}"/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549</Words>
  <Application>Microsoft Office PowerPoint</Application>
  <PresentationFormat>Affichage à l'écran (4:3)</PresentationFormat>
  <Paragraphs>121</Paragraphs>
  <Slides>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1" baseType="lpstr">
      <vt:lpstr>Arial</vt:lpstr>
      <vt:lpstr>Calibri</vt:lpstr>
      <vt:lpstr>Consolas</vt:lpstr>
      <vt:lpstr>Georgia</vt:lpstr>
      <vt:lpstr>Training</vt:lpstr>
      <vt:lpstr>think-cell Slide</vt:lpstr>
      <vt:lpstr>Développement .NET C# Objets et Types Annexe 1 : solutions</vt:lpstr>
      <vt:lpstr>Exercice 1 : héritage d’interface</vt:lpstr>
      <vt:lpstr>Solution (1/3) : TransactionalAccount</vt:lpstr>
      <vt:lpstr>Solution (2/3) : classe SavingsAccount</vt:lpstr>
      <vt:lpstr>Solution 3/3 : Progr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1</cp:revision>
  <dcterms:created xsi:type="dcterms:W3CDTF">2012-12-02T13:55:41Z</dcterms:created>
  <dcterms:modified xsi:type="dcterms:W3CDTF">2022-10-10T14:41:1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  <property fmtid="{D5CDD505-2E9C-101B-9397-08002B2CF9AE}" pid="3" name="ContentTypeId">
    <vt:lpwstr>0x010100F271F3F809FA25448D8330EB0B1CBD31</vt:lpwstr>
  </property>
</Properties>
</file>